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7" r:id="rId2"/>
  </p:sldMasterIdLst>
  <p:notesMasterIdLst>
    <p:notesMasterId r:id="rId7"/>
  </p:notesMasterIdLst>
  <p:handoutMasterIdLst>
    <p:handoutMasterId r:id="rId8"/>
  </p:handoutMasterIdLst>
  <p:sldIdLst>
    <p:sldId id="256" r:id="rId3"/>
    <p:sldId id="5752" r:id="rId4"/>
    <p:sldId id="5753" r:id="rId5"/>
    <p:sldId id="5754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576"/>
    <a:srgbClr val="2A4E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97" autoAdjust="0"/>
    <p:restoredTop sz="90244" autoAdjust="0"/>
  </p:normalViewPr>
  <p:slideViewPr>
    <p:cSldViewPr snapToGrid="0">
      <p:cViewPr varScale="1">
        <p:scale>
          <a:sx n="83" d="100"/>
          <a:sy n="83" d="100"/>
        </p:scale>
        <p:origin x="752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774D62-8A50-45EF-B8A2-6CC3F092D9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3E5999-C9F0-4661-8C4F-C8587DCD6F5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6D273-33D5-48AE-8CBF-BF4EAD465BDB}" type="datetimeFigureOut">
              <a:rPr lang="en-US" smtClean="0"/>
              <a:t>6/18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2708F3-1ED9-47B2-9A2F-02F6AFC3F9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D17C36-768E-40EC-A42F-50937D3C7F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712659-D912-4879-8E92-3A94D9C7CB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4770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2F4FE5-FED1-4A5E-9D70-EB724AD1794E}" type="datetimeFigureOut">
              <a:rPr lang="en-US" smtClean="0"/>
              <a:t>6/1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D5EAD-9D94-48E6-95AC-68CC234FB3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701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D5EAD-9D94-48E6-95AC-68CC234FB3D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533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D5EAD-9D94-48E6-95AC-68CC234FB3D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098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C729B4F-F462-4FDD-B20E-BD58CBBF5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3EEE62-EBB7-4181-8D0F-C77780C1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07383"/>
            <a:ext cx="9144000" cy="1159982"/>
          </a:xfrm>
        </p:spPr>
        <p:txBody>
          <a:bodyPr anchor="b">
            <a:noAutofit/>
          </a:bodyPr>
          <a:lstStyle>
            <a:lvl1pPr algn="ctr">
              <a:defRPr sz="4000" b="1" i="0" cap="all" baseline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C248EE-14FE-4C7E-BEDB-0AC15A7EF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235669"/>
            <a:ext cx="9144000" cy="710507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ED6345-8783-4208-8215-2D47763524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63" y="336328"/>
            <a:ext cx="2559819" cy="8742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ECABE3-0F4B-4EC0-80CB-7508FC6DD3E2}"/>
              </a:ext>
            </a:extLst>
          </p:cNvPr>
          <p:cNvCxnSpPr/>
          <p:nvPr userDrawn="1"/>
        </p:nvCxnSpPr>
        <p:spPr>
          <a:xfrm>
            <a:off x="3886197" y="3886824"/>
            <a:ext cx="46412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884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F0FEF5D-DFFD-4089-8AC6-9540CE874C2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7D88E3-6983-4AB0-9A51-6DA9B9185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5811"/>
            <a:ext cx="10515600" cy="1373696"/>
          </a:xfrm>
        </p:spPr>
        <p:txBody>
          <a:bodyPr anchor="ctr">
            <a:no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77548-2E2F-469B-B080-EA775ABD12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878BE-96E0-4A10-8F4F-00EC010BE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538A9E0-E3F6-4E54-A054-7FE66453E0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800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8" userDrawn="1">
          <p15:clr>
            <a:srgbClr val="FBAE40"/>
          </p15:clr>
        </p15:guide>
        <p15:guide id="2" pos="528" userDrawn="1">
          <p15:clr>
            <a:srgbClr val="FBAE40"/>
          </p15:clr>
        </p15:guide>
        <p15:guide id="3" pos="71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F5A88EF-2119-4F1C-91F5-85A89D53ED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16824-BE4D-4921-974B-7F9AF6B1C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10515600" cy="1367882"/>
          </a:xfrm>
        </p:spPr>
        <p:txBody>
          <a:bodyPr>
            <a:norm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2BEA73-AC1A-4CA0-B17D-1F77448AD3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7C1358-60BA-4AD9-AC74-341BEBE566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163E2F-5EB2-4D68-80F0-6E6B8E967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8A9E0-E3F6-4E54-A054-7FE66453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37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704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C729B4F-F462-4FDD-B20E-BD58CBBF5D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3EEE62-EBB7-4181-8D0F-C77780C1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07383"/>
            <a:ext cx="9144000" cy="1159982"/>
          </a:xfrm>
        </p:spPr>
        <p:txBody>
          <a:bodyPr anchor="b">
            <a:noAutofit/>
          </a:bodyPr>
          <a:lstStyle>
            <a:lvl1pPr algn="ctr"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C248EE-14FE-4C7E-BEDB-0AC15A7EFF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895966"/>
            <a:ext cx="9144000" cy="710507"/>
          </a:xfrm>
        </p:spPr>
        <p:txBody>
          <a:bodyPr/>
          <a:lstStyle>
            <a:lvl1pPr marL="0" indent="0" algn="ctr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ED6345-8783-4208-8215-2D47763524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1" y="356205"/>
            <a:ext cx="4110730" cy="140388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3ECABE3-0F4B-4EC0-80CB-7508FC6DD3E2}"/>
              </a:ext>
            </a:extLst>
          </p:cNvPr>
          <p:cNvCxnSpPr/>
          <p:nvPr userDrawn="1"/>
        </p:nvCxnSpPr>
        <p:spPr>
          <a:xfrm>
            <a:off x="3886197" y="3803890"/>
            <a:ext cx="46412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609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F0FEF5D-DFFD-4089-8AC6-9540CE874C2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7D88E3-6983-4AB0-9A51-6DA9B91858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-5811"/>
            <a:ext cx="10515600" cy="1373696"/>
          </a:xfrm>
        </p:spPr>
        <p:txBody>
          <a:bodyPr anchor="ctr">
            <a:noAutofit/>
          </a:bodyPr>
          <a:lstStyle>
            <a:lvl1pPr algn="ctr">
              <a:defRPr sz="28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77548-2E2F-469B-B080-EA775ABD12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878BE-96E0-4A10-8F4F-00EC010BE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8A9E0-E3F6-4E54-A054-7FE66453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304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F5A88EF-2119-4F1C-91F5-85A89D53ED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16824-BE4D-4921-974B-7F9AF6B1C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10515600" cy="1367882"/>
          </a:xfrm>
        </p:spPr>
        <p:txBody>
          <a:bodyPr>
            <a:normAutofit/>
          </a:bodyPr>
          <a:lstStyle>
            <a:lvl1pPr algn="ctr">
              <a:defRPr sz="28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2BEA73-AC1A-4CA0-B17D-1F77448AD3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7C1358-60BA-4AD9-AC74-341BEBE566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163E2F-5EB2-4D68-80F0-6E6B8E967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8A9E0-E3F6-4E54-A054-7FE66453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8711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C2C6D-3A24-1B41-8E69-5DC9CC947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FB45B2-DC5E-FF4A-9106-650D7D60A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92910-D3F0-B043-BCDA-A38946D0017B}" type="datetimeFigureOut">
              <a:rPr lang="en-US" smtClean="0"/>
              <a:t>6/18/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0687C-94E5-254C-9534-B641CFBC5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C8FFD0-61FF-3D45-970C-F0C01E745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7BF810-22AD-4A4D-974D-244D2E60F88B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B464D2-BCE2-1742-A81D-D11B49B982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B464D2-BCE2-1742-A81D-D11B49B98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0C30E40-8744-4D41-BD9D-03A4C33AD9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oc id" hidden="1">
            <a:extLst>
              <a:ext uri="{FF2B5EF4-FFF2-40B4-BE49-F238E27FC236}">
                <a16:creationId xmlns:a16="http://schemas.microsoft.com/office/drawing/2014/main" id="{D34BD1F0-4CB0-5047-B826-000C41509358}"/>
              </a:ext>
            </a:extLst>
          </p:cNvPr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24775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A8CB1D-CF7F-4E96-A146-25608F5BA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3315C5-6367-4229-9395-3D5E5824C1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284BE-44DA-4740-A857-0E3AA08EA8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C331AA-1AF6-43BB-B061-CD276C837375}" type="datetimeFigureOut">
              <a:rPr lang="en-US" smtClean="0"/>
              <a:t>6/1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915E97-4113-413F-B035-0E33405410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9B36A4-5B4A-42E7-82C4-1C7701E0E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38A9E0-E3F6-4E54-A054-7FE66453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24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A8CB1D-CF7F-4E96-A146-25608F5BA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3315C5-6367-4229-9395-3D5E5824C1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8284BE-44DA-4740-A857-0E3AA08EA8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C331AA-1AF6-43BB-B061-CD276C837375}" type="datetimeFigureOut">
              <a:rPr lang="en-US" smtClean="0"/>
              <a:t>6/1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915E97-4113-413F-B035-0E33405410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9B36A4-5B4A-42E7-82C4-1C7701E0E8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38A9E0-E3F6-4E54-A054-7FE66453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78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venir Next LT Pro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posts/medc_michiganbusiness-industry40-activity-6784510872434851840-UFsk" TargetMode="External"/><Relationship Id="rId2" Type="http://schemas.openxmlformats.org/officeDocument/2006/relationships/hyperlink" Target="https://michiganbusiness.org/industry4-0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.png"/><Relationship Id="rId4" Type="http://schemas.openxmlformats.org/officeDocument/2006/relationships/hyperlink" Target="https://twitter.com/MEDC/status/1378746699741601794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chiganbusiness.org/industry4-0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twitter.com/MEDC/status/1382070099541172225" TargetMode="External"/><Relationship Id="rId4" Type="http://schemas.openxmlformats.org/officeDocument/2006/relationships/hyperlink" Target="https://www.linkedin.com/feed/update/urn:li:activity:6787835146373492736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45809DC-B725-4DE0-9F03-3D78ECA293DE}"/>
              </a:ext>
            </a:extLst>
          </p:cNvPr>
          <p:cNvSpPr/>
          <p:nvPr/>
        </p:nvSpPr>
        <p:spPr>
          <a:xfrm>
            <a:off x="2671187" y="5850041"/>
            <a:ext cx="6849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esenter Name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Presenter Tit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BF9208-E264-4850-B84D-B111BCA58EB3}"/>
              </a:ext>
            </a:extLst>
          </p:cNvPr>
          <p:cNvSpPr txBox="1"/>
          <p:nvPr/>
        </p:nvSpPr>
        <p:spPr>
          <a:xfrm>
            <a:off x="1995229" y="2646250"/>
            <a:ext cx="8201541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</a:rPr>
              <a:t>Adopting Industry 4.0 Technologies in the state of Michiga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4615BC-883C-4648-8E59-971AFAE5D8F3}"/>
              </a:ext>
            </a:extLst>
          </p:cNvPr>
          <p:cNvSpPr txBox="1"/>
          <p:nvPr/>
        </p:nvSpPr>
        <p:spPr>
          <a:xfrm>
            <a:off x="1995229" y="4108298"/>
            <a:ext cx="820154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Avenir Next" panose="020B0503020202020204" pitchFamily="34" charset="0"/>
              </a:rPr>
              <a:t>SOCIAL MEDIA POSTS TEMPLATE</a:t>
            </a:r>
          </a:p>
        </p:txBody>
      </p:sp>
    </p:spTree>
    <p:extLst>
      <p:ext uri="{BB962C8B-B14F-4D97-AF65-F5344CB8AC3E}">
        <p14:creationId xmlns:p14="http://schemas.microsoft.com/office/powerpoint/2010/main" val="3271627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8E24674-8E8B-E64A-8A91-0EAE369DA879}"/>
              </a:ext>
            </a:extLst>
          </p:cNvPr>
          <p:cNvSpPr txBox="1"/>
          <p:nvPr/>
        </p:nvSpPr>
        <p:spPr>
          <a:xfrm>
            <a:off x="6510687" y="1091550"/>
            <a:ext cx="474108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576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What is Industry 4.0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A revolution in manufacturing technology is changing the way we build things.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Learn more about growing your business by leveraging Industry 4.0 technologies at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2"/>
              </a:rPr>
              <a:t>https://michiganbusiness.org/industry4-0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#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MichiganBusines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 #Industry40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3"/>
              </a:rPr>
              <a:t>LinkedIn Post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4"/>
              </a:rPr>
              <a:t>Twitter Post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934C7B4-15D0-9041-8C89-3FDD3C917D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19" y="1091550"/>
            <a:ext cx="5242195" cy="2948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04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EC5AF55B-22AE-E949-9C0B-DE2CBAE6C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94" y="366419"/>
            <a:ext cx="5156021" cy="61251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E24674-8E8B-E64A-8A91-0EAE369DA879}"/>
              </a:ext>
            </a:extLst>
          </p:cNvPr>
          <p:cNvSpPr txBox="1"/>
          <p:nvPr/>
        </p:nvSpPr>
        <p:spPr>
          <a:xfrm>
            <a:off x="6510687" y="1091550"/>
            <a:ext cx="474108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576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Welcome to Michigan 4.0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We're helping to prepare more than 6,000 Michigan manufacturers to adopt Industry 4.0 technologies by 2025.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Learn how your #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MichiganBusines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 can grow with #Industry40 at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3"/>
              </a:rPr>
              <a:t>https://www.michiganbusiness.org/industry4-0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#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MichiganBusines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 #Industry40</a:t>
            </a: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4"/>
              </a:rPr>
              <a:t>LinkedIn Post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Arial" panose="020B0604020202020204" pitchFamily="34" charset="0"/>
                <a:hlinkClick r:id="rId5"/>
              </a:rPr>
              <a:t>Twitter Post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709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45809DC-B725-4DE0-9F03-3D78ECA293DE}"/>
              </a:ext>
            </a:extLst>
          </p:cNvPr>
          <p:cNvSpPr/>
          <p:nvPr/>
        </p:nvSpPr>
        <p:spPr>
          <a:xfrm>
            <a:off x="2671187" y="5850041"/>
            <a:ext cx="6849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esenter Name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>
                    <a:lumMod val="75000"/>
                  </a:schemeClr>
                </a:solidFill>
              </a:rPr>
              <a:t>Presenter Tit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BF9208-E264-4850-B84D-B111BCA58EB3}"/>
              </a:ext>
            </a:extLst>
          </p:cNvPr>
          <p:cNvSpPr txBox="1"/>
          <p:nvPr/>
        </p:nvSpPr>
        <p:spPr>
          <a:xfrm>
            <a:off x="1995229" y="2646250"/>
            <a:ext cx="8201541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</a:rPr>
              <a:t>Adopting Industry 4.0 Technologies in the state of Michiga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4615BC-883C-4648-8E59-971AFAE5D8F3}"/>
              </a:ext>
            </a:extLst>
          </p:cNvPr>
          <p:cNvSpPr txBox="1"/>
          <p:nvPr/>
        </p:nvSpPr>
        <p:spPr>
          <a:xfrm>
            <a:off x="1995229" y="4108298"/>
            <a:ext cx="820154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Avenir Next" panose="020B0503020202020204" pitchFamily="34" charset="0"/>
              </a:rPr>
              <a:t>SOCIAL MEDIA POSTS TEMPLATE</a:t>
            </a:r>
          </a:p>
        </p:txBody>
      </p:sp>
    </p:spTree>
    <p:extLst>
      <p:ext uri="{BB962C8B-B14F-4D97-AF65-F5344CB8AC3E}">
        <p14:creationId xmlns:p14="http://schemas.microsoft.com/office/powerpoint/2010/main" val="3703018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001D59"/>
      </a:dk2>
      <a:lt2>
        <a:srgbClr val="FFFFFF"/>
      </a:lt2>
      <a:accent1>
        <a:srgbClr val="9CCFEC"/>
      </a:accent1>
      <a:accent2>
        <a:srgbClr val="2487BE"/>
      </a:accent2>
      <a:accent3>
        <a:srgbClr val="144F94"/>
      </a:accent3>
      <a:accent4>
        <a:srgbClr val="0AA67D"/>
      </a:accent4>
      <a:accent5>
        <a:srgbClr val="EBA520"/>
      </a:accent5>
      <a:accent6>
        <a:srgbClr val="808080"/>
      </a:accent6>
      <a:hlink>
        <a:srgbClr val="144F94"/>
      </a:hlink>
      <a:folHlink>
        <a:srgbClr val="001D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4">
      <a:dk1>
        <a:srgbClr val="000000"/>
      </a:dk1>
      <a:lt1>
        <a:srgbClr val="FFFFFF"/>
      </a:lt1>
      <a:dk2>
        <a:srgbClr val="001D59"/>
      </a:dk2>
      <a:lt2>
        <a:srgbClr val="FFFFFF"/>
      </a:lt2>
      <a:accent1>
        <a:srgbClr val="9CCFEC"/>
      </a:accent1>
      <a:accent2>
        <a:srgbClr val="2487BE"/>
      </a:accent2>
      <a:accent3>
        <a:srgbClr val="144F94"/>
      </a:accent3>
      <a:accent4>
        <a:srgbClr val="0AA67D"/>
      </a:accent4>
      <a:accent5>
        <a:srgbClr val="EBA520"/>
      </a:accent5>
      <a:accent6>
        <a:srgbClr val="808080"/>
      </a:accent6>
      <a:hlink>
        <a:srgbClr val="144F94"/>
      </a:hlink>
      <a:folHlink>
        <a:srgbClr val="001D5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41</TotalTime>
  <Words>131</Words>
  <Application>Microsoft Macintosh PowerPoint</Application>
  <PresentationFormat>Widescreen</PresentationFormat>
  <Paragraphs>2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Arial Black</vt:lpstr>
      <vt:lpstr>Avenir Next</vt:lpstr>
      <vt:lpstr>Avenir Next LT Pro</vt:lpstr>
      <vt:lpstr>Calibri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ee Evans (MEDC)</dc:creator>
  <cp:lastModifiedBy>Idong Ibok</cp:lastModifiedBy>
  <cp:revision>66</cp:revision>
  <dcterms:created xsi:type="dcterms:W3CDTF">2020-06-17T14:13:49Z</dcterms:created>
  <dcterms:modified xsi:type="dcterms:W3CDTF">2021-06-18T17:53:11Z</dcterms:modified>
</cp:coreProperties>
</file>